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8.xml" ContentType="application/vnd.openxmlformats-officedocument.presentationml.tags+xml"/>
  <Override PartName="/ppt/notesSlides/notesSlide1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5" r:id="rId1"/>
  </p:sldMasterIdLst>
  <p:notesMasterIdLst>
    <p:notesMasterId r:id="rId3"/>
  </p:notesMasterIdLst>
  <p:handoutMasterIdLst>
    <p:handoutMasterId r:id="rId4"/>
  </p:handoutMasterIdLst>
  <p:sldIdLst>
    <p:sldId id="384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B82E8466-83BB-6317-73B9-A51F2FE0BC10}" name="Pare, Carine (SPAC/PSPC)" initials="PC(" userId="S::Carine.Pare@tpsgc-pwgsc.gc.ca::71f88b2f-db4c-4269-9577-1025f7fc6543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icrosoft Office User" initials="MOU" lastIdx="4" clrIdx="0"/>
  <p:cmAuthor id="2" name="Jeremy N Gooden" initials="JNG" lastIdx="1" clrIdx="1"/>
  <p:cmAuthor id="3" name="Rickey Haley-Colpitts" initials="RH" lastIdx="1" clrIdx="2">
    <p:extLst>
      <p:ext uri="{19B8F6BF-5375-455C-9EA6-DF929625EA0E}">
        <p15:presenceInfo xmlns:p15="http://schemas.microsoft.com/office/powerpoint/2012/main" userId="S::Rickey.Haley-Colpitts@bgis.com::d450c491-4712-4c27-9f1d-d9034ee29bdf" providerId="AD"/>
      </p:ext>
    </p:extLst>
  </p:cmAuthor>
  <p:cmAuthor id="4" name="Carine Pare" initials="CP" lastIdx="3" clrIdx="3">
    <p:extLst>
      <p:ext uri="{19B8F6BF-5375-455C-9EA6-DF929625EA0E}">
        <p15:presenceInfo xmlns:p15="http://schemas.microsoft.com/office/powerpoint/2012/main" userId="S::Carine.Pare@tpsgc-pwgsc.gc.ca::71f88b2f-db4c-4269-9577-1025f7fc654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8F682"/>
    <a:srgbClr val="7CB430"/>
    <a:srgbClr val="A8CE75"/>
    <a:srgbClr val="4CB6A0"/>
    <a:srgbClr val="D0FAC0"/>
    <a:srgbClr val="A2F682"/>
    <a:srgbClr val="BA84D7"/>
    <a:srgbClr val="FCEED2"/>
    <a:srgbClr val="000000"/>
    <a:srgbClr val="8B8B8B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8799B23B-EC83-4686-B30A-512413B5E67A}" styleName="Light Style 3 - Accent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838" autoAdjust="0"/>
    <p:restoredTop sz="86722" autoAdjust="0"/>
  </p:normalViewPr>
  <p:slideViewPr>
    <p:cSldViewPr snapToGrid="0" snapToObjects="1">
      <p:cViewPr varScale="1">
        <p:scale>
          <a:sx n="98" d="100"/>
          <a:sy n="98" d="100"/>
        </p:scale>
        <p:origin x="1080" y="7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10" d="100"/>
        <a:sy n="110" d="100"/>
      </p:scale>
      <p:origin x="0" y="0"/>
    </p:cViewPr>
  </p:sorterViewPr>
  <p:notesViewPr>
    <p:cSldViewPr snapToGrid="0" snapToObjects="1">
      <p:cViewPr varScale="1">
        <p:scale>
          <a:sx n="42" d="100"/>
          <a:sy n="42" d="100"/>
        </p:scale>
        <p:origin x="2314" y="53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notesMaster" Target="notesMasters/notesMaster1.xml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commentAuthors" Target="commentAuthors.xml"/><Relationship Id="rId11" Type="http://schemas.microsoft.com/office/2018/10/relationships/authors" Target="authors.xml"/><Relationship Id="rId5" Type="http://schemas.openxmlformats.org/officeDocument/2006/relationships/tags" Target="tags/tag1.xml"/><Relationship Id="rId10" Type="http://schemas.openxmlformats.org/officeDocument/2006/relationships/tableStyles" Target="tableStyles.xml"/><Relationship Id="rId4" Type="http://schemas.openxmlformats.org/officeDocument/2006/relationships/handoutMaster" Target="handoutMasters/handoutMaster1.xml"/><Relationship Id="rId9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5FBA0B1-8B5E-6C42-BD6E-E01ECCB0DC63}" type="datetimeFigureOut">
              <a:rPr lang="en-US" smtClean="0"/>
              <a:t>2/1/2023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B4F169B-D4BC-2D47-B1AD-909F43E50BA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694764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0666F0F-F449-CC4B-B881-E7F614156AC6}" type="datetimeFigureOut">
              <a:rPr lang="en-US" smtClean="0"/>
              <a:t>2/1/2023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1F9BAFD-0AFE-FC47-B839-C833EEBF7ECA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9455904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1F9BAFD-0AFE-FC47-B839-C833EEBF7ECA}" type="slidenum">
              <a:rPr lang="en-US" smtClean="0">
                <a:solidFill>
                  <a:prstClr val="black"/>
                </a:solidFill>
              </a:rPr>
              <a:pPr/>
              <a:t>1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4716048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2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5DBF2B2-6E29-804D-BBC2-9BEE5015365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5306" y="2379518"/>
            <a:ext cx="11101387" cy="1295400"/>
          </a:xfr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4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2033543-1E3F-E44E-9B20-569E29D9DE8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45307" y="3816351"/>
            <a:ext cx="3502586" cy="678352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AECE7A44-3E45-CD44-B3AE-5AEBA351C86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4513" y="4335679"/>
            <a:ext cx="3494087" cy="526957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900"/>
            </a:lvl2pPr>
            <a:lvl3pPr marL="914400" indent="0">
              <a:buNone/>
              <a:defRPr sz="800"/>
            </a:lvl3pPr>
            <a:lvl4pPr marL="1371600" indent="0">
              <a:buNone/>
              <a:defRPr sz="700"/>
            </a:lvl4pPr>
            <a:lvl5pPr marL="1828800" indent="0">
              <a:buNone/>
              <a:defRPr sz="700"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9812097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Four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4" y="1606538"/>
            <a:ext cx="2571751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7" name="Picture Placeholder 6">
            <a:extLst>
              <a:ext uri="{FF2B5EF4-FFF2-40B4-BE49-F238E27FC236}">
                <a16:creationId xmlns:a16="http://schemas.microsoft.com/office/drawing/2014/main" id="{AB5CA4C7-9DA8-9349-A7AE-66A5D6A6F642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371849" y="1606538"/>
            <a:ext cx="2571751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0" name="Picture Placeholder 6">
            <a:extLst>
              <a:ext uri="{FF2B5EF4-FFF2-40B4-BE49-F238E27FC236}">
                <a16:creationId xmlns:a16="http://schemas.microsoft.com/office/drawing/2014/main" id="{0BDB9676-2139-3E4A-8902-B788AA4A1430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243636" y="1606538"/>
            <a:ext cx="2571751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3" name="Picture Placeholder 6">
            <a:extLst>
              <a:ext uri="{FF2B5EF4-FFF2-40B4-BE49-F238E27FC236}">
                <a16:creationId xmlns:a16="http://schemas.microsoft.com/office/drawing/2014/main" id="{3AAEAB4E-EA57-5D45-ADBA-C01E02C67167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9086849" y="1606538"/>
            <a:ext cx="2438028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EDDF9A85-81B8-594C-8E42-376FC3678AA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2878599"/>
            <a:ext cx="2588620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D07625D3-4631-D144-A38F-D00BCF2C2126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161" y="3194688"/>
            <a:ext cx="2576514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7A595DD1-B636-EA46-A519-6AA9C65FD62C}"/>
              </a:ext>
            </a:extLst>
          </p:cNvPr>
          <p:cNvSpPr>
            <a:spLocks noGrp="1"/>
          </p:cNvSpPr>
          <p:nvPr>
            <p:ph type="body" idx="23" hasCustomPrompt="1"/>
          </p:nvPr>
        </p:nvSpPr>
        <p:spPr>
          <a:xfrm>
            <a:off x="3373211" y="2878599"/>
            <a:ext cx="2588620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A995848D-37D6-C04D-BDF8-0D8718112883}"/>
              </a:ext>
            </a:extLst>
          </p:cNvPr>
          <p:cNvSpPr>
            <a:spLocks noGrp="1"/>
          </p:cNvSpPr>
          <p:nvPr>
            <p:ph idx="24"/>
          </p:nvPr>
        </p:nvSpPr>
        <p:spPr>
          <a:xfrm>
            <a:off x="3368447" y="3194688"/>
            <a:ext cx="2576514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BFC0A166-67A0-2340-971A-FD7BAF6FB8CF}"/>
              </a:ext>
            </a:extLst>
          </p:cNvPr>
          <p:cNvSpPr>
            <a:spLocks noGrp="1"/>
          </p:cNvSpPr>
          <p:nvPr>
            <p:ph type="body" idx="25" hasCustomPrompt="1"/>
          </p:nvPr>
        </p:nvSpPr>
        <p:spPr>
          <a:xfrm>
            <a:off x="6225268" y="2878599"/>
            <a:ext cx="2588620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10E95A27-B41C-7F48-9F77-4204B73512BE}"/>
              </a:ext>
            </a:extLst>
          </p:cNvPr>
          <p:cNvSpPr>
            <a:spLocks noGrp="1"/>
          </p:cNvSpPr>
          <p:nvPr>
            <p:ph idx="26"/>
          </p:nvPr>
        </p:nvSpPr>
        <p:spPr>
          <a:xfrm>
            <a:off x="6220504" y="3194688"/>
            <a:ext cx="2576514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7D1A0976-12BB-6843-AA08-4891F82E3E12}"/>
              </a:ext>
            </a:extLst>
          </p:cNvPr>
          <p:cNvSpPr>
            <a:spLocks noGrp="1"/>
          </p:cNvSpPr>
          <p:nvPr>
            <p:ph type="body" idx="27" hasCustomPrompt="1"/>
          </p:nvPr>
        </p:nvSpPr>
        <p:spPr>
          <a:xfrm>
            <a:off x="9077325" y="2878599"/>
            <a:ext cx="2437779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7" name="Content Placeholder 2">
            <a:extLst>
              <a:ext uri="{FF2B5EF4-FFF2-40B4-BE49-F238E27FC236}">
                <a16:creationId xmlns:a16="http://schemas.microsoft.com/office/drawing/2014/main" id="{0CE6D17D-6FF8-034C-B243-541C6CC0C0A7}"/>
              </a:ext>
            </a:extLst>
          </p:cNvPr>
          <p:cNvSpPr>
            <a:spLocks noGrp="1"/>
          </p:cNvSpPr>
          <p:nvPr>
            <p:ph idx="28"/>
          </p:nvPr>
        </p:nvSpPr>
        <p:spPr>
          <a:xfrm>
            <a:off x="9072561" y="3194688"/>
            <a:ext cx="2442543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4478196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Two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5" y="1606538"/>
            <a:ext cx="5430838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30AB767C-C8CE-A646-995D-CEACD854568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243638" y="1606538"/>
            <a:ext cx="5271466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FBD7B9AD-945C-F149-B2DA-39EC98B68E99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4307350"/>
            <a:ext cx="5430838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C47D4007-27E8-6B41-B124-3799DE9D3414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161" y="4601668"/>
            <a:ext cx="5405440" cy="1528678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BE58BC4C-2568-1D44-AC5F-BB2715C9AD23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6247039" y="4307350"/>
            <a:ext cx="5268065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3961F923-F71F-6342-AF54-96059A451659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6242275" y="4601668"/>
            <a:ext cx="5246813" cy="1528678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6463268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Three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5" y="1606538"/>
            <a:ext cx="3495675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5" name="Picture Placeholder 6">
            <a:extLst>
              <a:ext uri="{FF2B5EF4-FFF2-40B4-BE49-F238E27FC236}">
                <a16:creationId xmlns:a16="http://schemas.microsoft.com/office/drawing/2014/main" id="{F5A1D93D-18EA-B646-9C69-64B68DA74652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343400" y="1606538"/>
            <a:ext cx="3495675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8" name="Picture Placeholder 6">
            <a:extLst>
              <a:ext uri="{FF2B5EF4-FFF2-40B4-BE49-F238E27FC236}">
                <a16:creationId xmlns:a16="http://schemas.microsoft.com/office/drawing/2014/main" id="{B818FFBC-FCFC-9842-8A48-4D05E54A6C5A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8129589" y="1606538"/>
            <a:ext cx="3385516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B12EB366-A3C6-464A-BD08-014B0A3C9D0D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4307350"/>
            <a:ext cx="3516886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0F62171F-0172-564D-A50B-45829D68B82F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161" y="4601668"/>
            <a:ext cx="3500439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599FE3A4-484C-7240-9A03-C0D58B29988D}"/>
              </a:ext>
            </a:extLst>
          </p:cNvPr>
          <p:cNvSpPr>
            <a:spLocks noGrp="1"/>
          </p:cNvSpPr>
          <p:nvPr>
            <p:ph type="body" idx="24" hasCustomPrompt="1"/>
          </p:nvPr>
        </p:nvSpPr>
        <p:spPr>
          <a:xfrm>
            <a:off x="4342039" y="4307350"/>
            <a:ext cx="3516886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430028FF-B82F-EC4C-999B-C024355F8F2F}"/>
              </a:ext>
            </a:extLst>
          </p:cNvPr>
          <p:cNvSpPr>
            <a:spLocks noGrp="1"/>
          </p:cNvSpPr>
          <p:nvPr>
            <p:ph idx="25"/>
          </p:nvPr>
        </p:nvSpPr>
        <p:spPr>
          <a:xfrm>
            <a:off x="4337275" y="4601668"/>
            <a:ext cx="3500439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30311FA8-9690-B047-B085-60DB7E39A20E}"/>
              </a:ext>
            </a:extLst>
          </p:cNvPr>
          <p:cNvSpPr>
            <a:spLocks noGrp="1"/>
          </p:cNvSpPr>
          <p:nvPr>
            <p:ph type="body" idx="26" hasCustomPrompt="1"/>
          </p:nvPr>
        </p:nvSpPr>
        <p:spPr>
          <a:xfrm>
            <a:off x="8141153" y="4307350"/>
            <a:ext cx="3373951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319F1970-3114-824F-93E4-D6E3FA50D6C5}"/>
              </a:ext>
            </a:extLst>
          </p:cNvPr>
          <p:cNvSpPr>
            <a:spLocks noGrp="1"/>
          </p:cNvSpPr>
          <p:nvPr>
            <p:ph idx="27"/>
          </p:nvPr>
        </p:nvSpPr>
        <p:spPr>
          <a:xfrm>
            <a:off x="8136389" y="4601668"/>
            <a:ext cx="3378715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9624524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Four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6" y="1606538"/>
            <a:ext cx="2571750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Picture Placeholder 6">
            <a:extLst>
              <a:ext uri="{FF2B5EF4-FFF2-40B4-BE49-F238E27FC236}">
                <a16:creationId xmlns:a16="http://schemas.microsoft.com/office/drawing/2014/main" id="{F954EBDC-0C0D-8C42-BD84-62A045BA7F66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400426" y="1606538"/>
            <a:ext cx="2571750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4" name="Picture Placeholder 6">
            <a:extLst>
              <a:ext uri="{FF2B5EF4-FFF2-40B4-BE49-F238E27FC236}">
                <a16:creationId xmlns:a16="http://schemas.microsoft.com/office/drawing/2014/main" id="{0D95A988-ADA4-2846-979A-FD44F1A4FBEB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6243639" y="1606538"/>
            <a:ext cx="2571750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7" name="Picture Placeholder 6">
            <a:extLst>
              <a:ext uri="{FF2B5EF4-FFF2-40B4-BE49-F238E27FC236}">
                <a16:creationId xmlns:a16="http://schemas.microsoft.com/office/drawing/2014/main" id="{6839EE6C-2C09-9949-AA2C-88119F234581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9058276" y="1606538"/>
            <a:ext cx="2459757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E079E8AD-12D3-6546-968E-72EB672317AA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4307350"/>
            <a:ext cx="2588621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A296A8EA-86DB-FC4D-BC77-160A57D989AF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161" y="4601668"/>
            <a:ext cx="2576515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2705B1A4-0935-A54C-982E-3DA340F87D4A}"/>
              </a:ext>
            </a:extLst>
          </p:cNvPr>
          <p:cNvSpPr>
            <a:spLocks noGrp="1"/>
          </p:cNvSpPr>
          <p:nvPr>
            <p:ph type="body" idx="27" hasCustomPrompt="1"/>
          </p:nvPr>
        </p:nvSpPr>
        <p:spPr>
          <a:xfrm>
            <a:off x="3405868" y="4307350"/>
            <a:ext cx="2588621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CAB80D97-AAE2-2D40-9CC8-0D12B6BEFD34}"/>
              </a:ext>
            </a:extLst>
          </p:cNvPr>
          <p:cNvSpPr>
            <a:spLocks noGrp="1"/>
          </p:cNvSpPr>
          <p:nvPr>
            <p:ph idx="28"/>
          </p:nvPr>
        </p:nvSpPr>
        <p:spPr>
          <a:xfrm>
            <a:off x="3401104" y="4601668"/>
            <a:ext cx="2576515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C46255BB-B53E-F143-8DCC-368B651E8333}"/>
              </a:ext>
            </a:extLst>
          </p:cNvPr>
          <p:cNvSpPr>
            <a:spLocks noGrp="1"/>
          </p:cNvSpPr>
          <p:nvPr>
            <p:ph type="body" idx="29" hasCustomPrompt="1"/>
          </p:nvPr>
        </p:nvSpPr>
        <p:spPr>
          <a:xfrm>
            <a:off x="6236154" y="4307350"/>
            <a:ext cx="2588621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24610589-EA76-8540-99A0-FCF68932BE3C}"/>
              </a:ext>
            </a:extLst>
          </p:cNvPr>
          <p:cNvSpPr>
            <a:spLocks noGrp="1"/>
          </p:cNvSpPr>
          <p:nvPr>
            <p:ph idx="30"/>
          </p:nvPr>
        </p:nvSpPr>
        <p:spPr>
          <a:xfrm>
            <a:off x="6231390" y="4601668"/>
            <a:ext cx="2576515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195337D1-2A14-AC46-9E61-C0B6DF09A78E}"/>
              </a:ext>
            </a:extLst>
          </p:cNvPr>
          <p:cNvSpPr>
            <a:spLocks noGrp="1"/>
          </p:cNvSpPr>
          <p:nvPr>
            <p:ph type="body" idx="31" hasCustomPrompt="1"/>
          </p:nvPr>
        </p:nvSpPr>
        <p:spPr>
          <a:xfrm>
            <a:off x="9055554" y="4307350"/>
            <a:ext cx="2475893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4F7C987D-CA92-364A-A879-5D136287E479}"/>
              </a:ext>
            </a:extLst>
          </p:cNvPr>
          <p:cNvSpPr>
            <a:spLocks noGrp="1"/>
          </p:cNvSpPr>
          <p:nvPr>
            <p:ph idx="32"/>
          </p:nvPr>
        </p:nvSpPr>
        <p:spPr>
          <a:xfrm>
            <a:off x="9050791" y="4601668"/>
            <a:ext cx="2464314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4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321953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5531030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4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0" y="655981"/>
            <a:ext cx="12192000" cy="4776706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6C8741D6-FD00-644A-9F60-65C96E7E86A6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451364" y="5592101"/>
            <a:ext cx="5079103" cy="687513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2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3701507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 on Lef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0324E0B-F39F-1D43-9422-07A82894B08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54039" y="1973260"/>
            <a:ext cx="3484562" cy="4141790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6C8741D6-FD00-644A-9F60-65C96E7E86A6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542925" y="1657350"/>
            <a:ext cx="3495675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13EA26D9-6642-A64C-BE94-B9F7CC25EAE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299857" y="1657350"/>
            <a:ext cx="7215247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3585819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ide content with caption on lef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767E1D94-0DDA-C347-B8A1-E074FA2B092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400426" y="1657350"/>
            <a:ext cx="8114678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0FC81611-5E2D-F944-B5DC-77F0EC084D1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54039" y="1995032"/>
            <a:ext cx="2646361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D5697742-5BFD-E94D-9B39-3F15B43192AC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542925" y="1657350"/>
            <a:ext cx="2654801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5036029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rrow content with wide caption on lef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07D81E4E-2C89-5449-A7CA-1170F511CF0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7172324" y="1657350"/>
            <a:ext cx="4342780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7222704C-5B0D-8243-A65D-0547A2F09055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553625" y="1995032"/>
            <a:ext cx="4437061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52F83407-BFB3-F64E-B383-6B15D587BC06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542511" y="1657350"/>
            <a:ext cx="4451212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408149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 on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4C1560E6-0616-1E46-BCD0-77413CEC332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164514" y="1995032"/>
            <a:ext cx="3350590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3099CEF0-FDAD-0348-826B-EDF0A6A44E9A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8153401" y="1657350"/>
            <a:ext cx="3361276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575CC65B-0B09-0840-85B2-DC45DA3AEBBB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52450" y="1657350"/>
            <a:ext cx="7344455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5920267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4581EE-8D51-5440-A998-B231FB90FA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8638" y="3622894"/>
            <a:ext cx="11115674" cy="939581"/>
          </a:xfrm>
        </p:spPr>
        <p:txBody>
          <a:bodyPr anchor="b">
            <a:normAutofit/>
          </a:bodyPr>
          <a:lstStyle>
            <a:lvl1pPr>
              <a:defRPr sz="4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ED18DE4-0234-E248-AACA-E37DB1A774D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28639" y="4573459"/>
            <a:ext cx="5573988" cy="1027374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1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582DCF5F-B937-2640-A4A5-1D021401E3B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28638" y="2085280"/>
            <a:ext cx="11115674" cy="1621662"/>
          </a:xfrm>
        </p:spPr>
        <p:txBody>
          <a:bodyPr anchor="b">
            <a:normAutofit/>
          </a:bodyPr>
          <a:lstStyle>
            <a:lvl1pPr marL="0" indent="0">
              <a:buNone/>
              <a:defRPr sz="6600" b="1"/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1093390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ide content with caption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64FDB926-2E3C-2141-85F9-142126F4F45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38161" y="1657350"/>
            <a:ext cx="8243886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3708FE2-7BD9-6741-AC35-E6D6340664E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9000625" y="1995032"/>
            <a:ext cx="2514479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C689E29B-5E72-1B47-AC15-183EF5464EE2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8989512" y="1657350"/>
            <a:ext cx="2522498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008864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rrow content with wide caption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942D8366-3A72-774E-9DAF-409CBEB5B74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52450" y="1657350"/>
            <a:ext cx="4471988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AF0A41A3-ADCC-F94C-98D5-4A734296F14B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7172325" y="1995032"/>
            <a:ext cx="4342779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3AF3FA9F-C428-6549-9B6A-202E0FD79372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7167219" y="1657350"/>
            <a:ext cx="4356629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2622900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 on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8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E3C6896E-0613-DC41-9582-A7BB6D35DF2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4354513" y="1714499"/>
            <a:ext cx="7160592" cy="4400551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ED880A99-4201-3847-86F3-D77C5C2DBFF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54039" y="1995032"/>
            <a:ext cx="3484562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20879568-7B89-6144-98EF-9A5090B5958B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542925" y="1657350"/>
            <a:ext cx="3495675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019181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with Caption on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E3C6896E-0613-DC41-9582-A7BB6D35DF2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52450" y="1714499"/>
            <a:ext cx="7289799" cy="4415846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73D605E1-0CFB-CE42-AD97-57E1B5B41B7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159750" y="1995032"/>
            <a:ext cx="3355354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E44D688F-F5DF-2843-BB18-D4261CED213D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8148636" y="1657350"/>
            <a:ext cx="3366055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5545105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and contact us slide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6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44581EE-8D51-5440-A998-B231FB90FA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8638" y="1822564"/>
            <a:ext cx="11115674" cy="1247775"/>
          </a:xfrm>
          <a:noFill/>
        </p:spPr>
        <p:txBody>
          <a:bodyPr anchor="b">
            <a:normAutofit/>
          </a:bodyPr>
          <a:lstStyle>
            <a:lvl1pPr>
              <a:defRPr sz="4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ED18DE4-0234-E248-AACA-E37DB1A774D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28638" y="3612471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52F2F56F-96CA-6140-8BC2-E01E7024533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30502" y="3900492"/>
            <a:ext cx="2584173" cy="22298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312EB146-5F86-304E-A51A-295F8092DC06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3386138" y="3612471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310E9C34-4047-CA46-B1B0-8BF910AA1891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3388002" y="3900492"/>
            <a:ext cx="2586037" cy="22298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3E53DD7D-0825-6B41-A63F-025B0695B6E7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6243638" y="3612471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5A9BBC99-B117-F448-8745-97F0D1F9A1C1}"/>
              </a:ext>
            </a:extLst>
          </p:cNvPr>
          <p:cNvSpPr>
            <a:spLocks noGrp="1"/>
          </p:cNvSpPr>
          <p:nvPr>
            <p:ph type="body" sz="half" idx="16"/>
          </p:nvPr>
        </p:nvSpPr>
        <p:spPr>
          <a:xfrm>
            <a:off x="6245502" y="3900492"/>
            <a:ext cx="2586037" cy="22298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F793902F-F09B-D24F-B7B3-22565938FF75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9058276" y="3612471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E0469521-F16C-7645-BF80-9C30AEA8ECDD}"/>
              </a:ext>
            </a:extLst>
          </p:cNvPr>
          <p:cNvSpPr>
            <a:spLocks noGrp="1"/>
          </p:cNvSpPr>
          <p:nvPr>
            <p:ph type="body" sz="half" idx="18"/>
          </p:nvPr>
        </p:nvSpPr>
        <p:spPr>
          <a:xfrm>
            <a:off x="9056412" y="3900492"/>
            <a:ext cx="2587900" cy="22298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226954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and contact us slid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0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Picture Placeholder 22">
            <a:extLst>
              <a:ext uri="{FF2B5EF4-FFF2-40B4-BE49-F238E27FC236}">
                <a16:creationId xmlns:a16="http://schemas.microsoft.com/office/drawing/2014/main" id="{1C0A461C-0294-B44F-97D5-FC39D0DC404B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0" y="0"/>
            <a:ext cx="5257800" cy="6857999"/>
          </a:xfrm>
        </p:spPr>
        <p:txBody>
          <a:bodyPr/>
          <a:lstStyle/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44581EE-8D51-5440-A998-B231FB90FA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13821" y="1000076"/>
            <a:ext cx="5443537" cy="1491404"/>
          </a:xfrm>
          <a:noFill/>
        </p:spPr>
        <p:txBody>
          <a:bodyPr anchor="t">
            <a:normAutofit/>
          </a:bodyPr>
          <a:lstStyle>
            <a:lvl1pPr>
              <a:defRPr sz="4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ED18DE4-0234-E248-AACA-E37DB1A774D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243638" y="2191451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52F2F56F-96CA-6140-8BC2-E01E7024533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43638" y="2491480"/>
            <a:ext cx="2586037" cy="1593197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312EB146-5F86-304E-A51A-295F8092DC06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9101139" y="2191451"/>
            <a:ext cx="2543174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310E9C34-4047-CA46-B1B0-8BF910AA1891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9101139" y="2491480"/>
            <a:ext cx="2543174" cy="1593197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3E53DD7D-0825-6B41-A63F-025B0695B6E7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6243638" y="4426163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5A9BBC99-B117-F448-8745-97F0D1F9A1C1}"/>
              </a:ext>
            </a:extLst>
          </p:cNvPr>
          <p:cNvSpPr>
            <a:spLocks noGrp="1"/>
          </p:cNvSpPr>
          <p:nvPr>
            <p:ph type="body" sz="half" idx="16"/>
          </p:nvPr>
        </p:nvSpPr>
        <p:spPr>
          <a:xfrm>
            <a:off x="6243638" y="4726192"/>
            <a:ext cx="2586037" cy="14041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F793902F-F09B-D24F-B7B3-22565938FF75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9058276" y="4426163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E0469521-F16C-7645-BF80-9C30AEA8ECDD}"/>
              </a:ext>
            </a:extLst>
          </p:cNvPr>
          <p:cNvSpPr>
            <a:spLocks noGrp="1"/>
          </p:cNvSpPr>
          <p:nvPr>
            <p:ph type="body" sz="half" idx="18"/>
          </p:nvPr>
        </p:nvSpPr>
        <p:spPr>
          <a:xfrm>
            <a:off x="9058276" y="4726192"/>
            <a:ext cx="2586037" cy="14041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3405541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s and testimonial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ED18DE4-0234-E248-AACA-E37DB1A774D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28638" y="5412692"/>
            <a:ext cx="3543300" cy="659495"/>
          </a:xfrm>
        </p:spPr>
        <p:txBody>
          <a:bodyPr>
            <a:normAutofit/>
          </a:bodyPr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A3994FF5-75CA-D542-AE8A-FF290128AD76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4357688" y="5412692"/>
            <a:ext cx="3543300" cy="659495"/>
          </a:xfrm>
        </p:spPr>
        <p:txBody>
          <a:bodyPr>
            <a:normAutofit/>
          </a:bodyPr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408E50E4-226F-9847-9392-FE95E91D60DC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8129588" y="5412692"/>
            <a:ext cx="3543300" cy="659495"/>
          </a:xfrm>
        </p:spPr>
        <p:txBody>
          <a:bodyPr>
            <a:normAutofit/>
          </a:bodyPr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807A35C6-3861-BC41-830C-3E0AA84056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357688" y="1209675"/>
            <a:ext cx="3543300" cy="3976688"/>
          </a:xfrm>
        </p:spPr>
        <p:txBody>
          <a:bodyPr anchor="b">
            <a:normAutofit/>
          </a:bodyPr>
          <a:lstStyle>
            <a:lvl1pPr marL="0" indent="0">
              <a:lnSpc>
                <a:spcPts val="4500"/>
              </a:lnSpc>
              <a:buNone/>
              <a:defRPr sz="3200" i="1">
                <a:latin typeface="Georgia" panose="02040502050405020303" pitchFamily="18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94ECD9F0-E726-484A-BAE6-AEAA3F1F970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28638" y="1209675"/>
            <a:ext cx="3543300" cy="3976688"/>
          </a:xfrm>
        </p:spPr>
        <p:txBody>
          <a:bodyPr anchor="b">
            <a:normAutofit/>
          </a:bodyPr>
          <a:lstStyle>
            <a:lvl1pPr marL="0" indent="0">
              <a:lnSpc>
                <a:spcPts val="4500"/>
              </a:lnSpc>
              <a:buNone/>
              <a:defRPr sz="3200" i="1">
                <a:latin typeface="Georgia" panose="02040502050405020303" pitchFamily="18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5" name="Text Placeholder 12">
            <a:extLst>
              <a:ext uri="{FF2B5EF4-FFF2-40B4-BE49-F238E27FC236}">
                <a16:creationId xmlns:a16="http://schemas.microsoft.com/office/drawing/2014/main" id="{5E63B64F-6E94-6A41-B8DD-27F9FD18751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115300" y="1209675"/>
            <a:ext cx="3543300" cy="3976688"/>
          </a:xfrm>
        </p:spPr>
        <p:txBody>
          <a:bodyPr anchor="b">
            <a:normAutofit/>
          </a:bodyPr>
          <a:lstStyle>
            <a:lvl1pPr marL="0" indent="0">
              <a:lnSpc>
                <a:spcPts val="4500"/>
              </a:lnSpc>
              <a:buNone/>
              <a:defRPr sz="3200" i="1">
                <a:latin typeface="Georgia" panose="02040502050405020303" pitchFamily="18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93993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1A143651-3799-F24B-AEFE-AAAD1187C7AF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38161" y="1657350"/>
            <a:ext cx="5405440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3C0C7668-8CC7-CF4A-8570-FDE604593FB0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226267" y="1657350"/>
            <a:ext cx="5288837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60" y="550861"/>
            <a:ext cx="11006344" cy="835027"/>
          </a:xfrm>
        </p:spPr>
        <p:txBody>
          <a:bodyPr>
            <a:normAutofit/>
          </a:bodyPr>
          <a:lstStyle>
            <a:lvl1pPr>
              <a:defRPr sz="2800"/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>
            <a:off x="616226" y="1282149"/>
            <a:ext cx="1089887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2846704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9A9B164-9C2C-4D48-8696-9484E8FF7626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1681171"/>
            <a:ext cx="5400676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45142E-614C-1941-A4E8-E24EA5A0D501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226267" y="1681171"/>
            <a:ext cx="5285752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A76002A2-2BEE-E84D-91F0-54ED39ABA3CA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538161" y="1986374"/>
            <a:ext cx="5405440" cy="4143971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E3047B5C-8C66-DD49-8353-D9A1331573E0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226267" y="1986374"/>
            <a:ext cx="5288837" cy="4143971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8638" y="442013"/>
            <a:ext cx="5434841" cy="730804"/>
          </a:xfrm>
        </p:spPr>
        <p:txBody>
          <a:bodyPr anchor="b">
            <a:normAutofit/>
          </a:bodyPr>
          <a:lstStyle>
            <a:lvl1pPr>
              <a:defRPr sz="2000"/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7039"/>
            <a:ext cx="5327375" cy="511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206997" y="1277039"/>
            <a:ext cx="5327375" cy="511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 Placeholder 22"/>
          <p:cNvSpPr>
            <a:spLocks noGrp="1"/>
          </p:cNvSpPr>
          <p:nvPr>
            <p:ph type="body" sz="quarter" idx="19" hasCustomPrompt="1"/>
          </p:nvPr>
        </p:nvSpPr>
        <p:spPr>
          <a:xfrm>
            <a:off x="6227003" y="442015"/>
            <a:ext cx="5327650" cy="730802"/>
          </a:xfrm>
        </p:spPr>
        <p:txBody>
          <a:bodyPr anchor="b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3682130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wo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5" y="1606538"/>
            <a:ext cx="5400676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30AB767C-C8CE-A646-995D-CEACD854568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243638" y="1606538"/>
            <a:ext cx="5271466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CBBDF55F-90F0-1C41-908C-56A92237925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2878599"/>
            <a:ext cx="5430838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2EA49D96-8068-0E46-8E04-581AD2DEEBF8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229352" y="2878599"/>
            <a:ext cx="5285752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37DEAE7C-B91C-3A45-9797-1CA40EEE86FC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161" y="3194688"/>
            <a:ext cx="5405440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ACBF5F4D-C8DF-6B40-9757-7862B3F3D013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6226267" y="3194688"/>
            <a:ext cx="5288837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7822898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hree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4" y="1606538"/>
            <a:ext cx="3495675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30AB767C-C8CE-A646-995D-CEACD854568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329113" y="1606538"/>
            <a:ext cx="3529012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4" name="Picture Placeholder 6">
            <a:extLst>
              <a:ext uri="{FF2B5EF4-FFF2-40B4-BE49-F238E27FC236}">
                <a16:creationId xmlns:a16="http://schemas.microsoft.com/office/drawing/2014/main" id="{30BC5AE0-0A2C-0A47-AED3-72F396E00B9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115301" y="1606538"/>
            <a:ext cx="3430302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A9B8C281-38F9-7B4F-9053-E5183E02C72C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4329113" y="2878599"/>
            <a:ext cx="3516885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C18917B6-ED6E-5247-A016-E8EB5828083B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4324349" y="3194688"/>
            <a:ext cx="3500438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E23316C5-42E3-A546-BFAD-685CA83063A4}"/>
              </a:ext>
            </a:extLst>
          </p:cNvPr>
          <p:cNvSpPr>
            <a:spLocks noGrp="1"/>
          </p:cNvSpPr>
          <p:nvPr>
            <p:ph type="body" idx="20" hasCustomPrompt="1"/>
          </p:nvPr>
        </p:nvSpPr>
        <p:spPr>
          <a:xfrm>
            <a:off x="529998" y="2878599"/>
            <a:ext cx="3516885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7736DC52-B567-4A40-86E6-A926C985A3C3}"/>
              </a:ext>
            </a:extLst>
          </p:cNvPr>
          <p:cNvSpPr>
            <a:spLocks noGrp="1"/>
          </p:cNvSpPr>
          <p:nvPr>
            <p:ph idx="21"/>
          </p:nvPr>
        </p:nvSpPr>
        <p:spPr>
          <a:xfrm>
            <a:off x="525234" y="3194688"/>
            <a:ext cx="3500438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9E92BD2B-6F22-EA49-83E7-283C14BE4AA6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8117341" y="2878599"/>
            <a:ext cx="3397763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447E32C1-C9CF-044C-AA5E-2ED6C83D1E1F}"/>
              </a:ext>
            </a:extLst>
          </p:cNvPr>
          <p:cNvSpPr>
            <a:spLocks noGrp="1"/>
          </p:cNvSpPr>
          <p:nvPr>
            <p:ph idx="23"/>
          </p:nvPr>
        </p:nvSpPr>
        <p:spPr>
          <a:xfrm>
            <a:off x="8112577" y="3194688"/>
            <a:ext cx="3402527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6849874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hyperlink" Target="https://www.google.ca/imgres?imgurl=https://s3.ca-central-1.amazonaws.com/vectorinstitute.ai/images/logos/Canada_Wordmark_EN.png&amp;imgrefurl=http://vectorinstitute.ai/&amp;docid=yhgK_zErh6d3aM&amp;tbnid=IIIM82B5TUYATM:&amp;vet=10ahUKEwjuq8nnosTZAhVQQq0KHQN_B-QQMwhPKAkwCQ..i&amp;w=1165&amp;h=303&amp;bih=479&amp;biw=1188&amp;q=canada%20wordmark&amp;ved=0ahUKEwjuq8nnosTZAhVQQq0KHQN_B-QQMwhPKAkwCQ&amp;iact=mrc&amp;uact=8" TargetMode="Externa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heme" Target="../theme/theme1.xml"/><Relationship Id="rId32" Type="http://schemas.openxmlformats.org/officeDocument/2006/relationships/image" Target="../media/image4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3.jpe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oleObject" Target="../embeddings/oleObject1.bin"/><Relationship Id="rId30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6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" name="think-cell Slide" r:id="rId27" imgW="473" imgH="473" progId="TCLayout.ActiveDocument.1">
                  <p:embed/>
                </p:oleObj>
              </mc:Choice>
              <mc:Fallback>
                <p:oleObj name="think-cell Slide" r:id="rId27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6CD8F89-9FB8-7B4E-9786-63C07B8CCA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2450" y="550861"/>
            <a:ext cx="11091862" cy="83502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21D4ACC-A397-1E47-B656-2FC4113DC45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2449" y="1657350"/>
            <a:ext cx="11091863" cy="44577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9" name="Picture 8" descr="Image result for canada wordmark">
            <a:hlinkClick r:id="rId29" invalidUrl="https://www.google.ca/imgres?imgurl=https://s3.ca-central-1.amazonaws.com/vectorinstitute.ai/images/logos/Canada_Wordmark_EN.png&amp;imgrefurl=http://vectorinstitute.ai/&amp;docid=yhgK_zErh6d3aM&amp;tbnid=IIIM82B5TUYATM:&amp;vet=10ahUKEwjuq8nnosTZAhVQQq0KHQN_B-QQMwhPKAkwCQ..i&amp;w=1165&amp;h=303&amp;bih=479&amp;biw=1188&amp;q=canada wordmark&amp;ved=0ahUKEwjuq8nnosTZAhVQQq0KHQN_B-QQMwhPKAkwCQ&amp;iact=mrc&amp;uact=8"/>
          </p:cNvPr>
          <p:cNvPicPr/>
          <p:nvPr userDrawn="1"/>
        </p:nvPicPr>
        <p:blipFill>
          <a:blip r:embed="rId30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8920" y="6396193"/>
            <a:ext cx="885392" cy="229331"/>
          </a:xfrm>
          <a:prstGeom prst="rect">
            <a:avLst/>
          </a:prstGeom>
          <a:noFill/>
          <a:ln>
            <a:noFill/>
          </a:ln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89CA9733-78EF-5F49-81C1-064DE89D5260}"/>
              </a:ext>
            </a:extLst>
          </p:cNvPr>
          <p:cNvPicPr>
            <a:picLocks noChangeAspect="1"/>
          </p:cNvPicPr>
          <p:nvPr userDrawn="1"/>
        </p:nvPicPr>
        <p:blipFill>
          <a:blip r:embed="rId31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2450" y="6374859"/>
            <a:ext cx="2036645" cy="250665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55854" y="136042"/>
            <a:ext cx="1392143" cy="4148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28856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78" r:id="rId3"/>
    <p:sldLayoutId id="2147483679" r:id="rId4"/>
    <p:sldLayoutId id="2147483680" r:id="rId5"/>
    <p:sldLayoutId id="2147483681" r:id="rId6"/>
    <p:sldLayoutId id="2147483682" r:id="rId7"/>
    <p:sldLayoutId id="2147483683" r:id="rId8"/>
    <p:sldLayoutId id="2147483684" r:id="rId9"/>
    <p:sldLayoutId id="2147483685" r:id="rId10"/>
    <p:sldLayoutId id="2147483686" r:id="rId11"/>
    <p:sldLayoutId id="2147483687" r:id="rId12"/>
    <p:sldLayoutId id="2147483688" r:id="rId13"/>
    <p:sldLayoutId id="2147483689" r:id="rId14"/>
    <p:sldLayoutId id="2147483690" r:id="rId15"/>
    <p:sldLayoutId id="2147483691" r:id="rId16"/>
    <p:sldLayoutId id="2147483692" r:id="rId17"/>
    <p:sldLayoutId id="2147483693" r:id="rId18"/>
    <p:sldLayoutId id="2147483694" r:id="rId19"/>
    <p:sldLayoutId id="2147483695" r:id="rId20"/>
    <p:sldLayoutId id="2147483696" r:id="rId21"/>
    <p:sldLayoutId id="2147483697" r:id="rId22"/>
    <p:sldLayoutId id="2147483698" r:id="rId2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ts val="2400"/>
        </a:lnSpc>
        <a:spcBef>
          <a:spcPts val="1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ts val="24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ts val="24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ts val="24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ts val="24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.emf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7.bin"/><Relationship Id="rId11" Type="http://schemas.openxmlformats.org/officeDocument/2006/relationships/image" Target="../media/image3.jpeg"/><Relationship Id="rId5" Type="http://schemas.openxmlformats.org/officeDocument/2006/relationships/image" Target="../media/image5.jpg"/><Relationship Id="rId10" Type="http://schemas.openxmlformats.org/officeDocument/2006/relationships/image" Target="../media/image2.png"/><Relationship Id="rId4" Type="http://schemas.openxmlformats.org/officeDocument/2006/relationships/notesSlide" Target="../notesSlides/notesSlide1.xml"/><Relationship Id="rId9" Type="http://schemas.openxmlformats.org/officeDocument/2006/relationships/hyperlink" Target="https://www.google.ca/imgres?imgurl=https://s3.ca-central-1.amazonaws.com/vectorinstitute.ai/images/logos/Canada_Wordmark_EN.png&amp;imgrefurl=http://vectorinstitute.ai/&amp;docid=yhgK_zErh6d3aM&amp;tbnid=IIIM82B5TUYATM:&amp;vet=10ahUKEwjuq8nnosTZAhVQQq0KHQN_B-QQMwhPKAkwCQ..i&amp;w=1165&amp;h=303&amp;bih=479&amp;biw=1188&amp;q=canada%20wordmark&amp;ved=0ahUKEwjuq8nnosTZAhVQQq0KHQN_B-QQMwhPKAkwCQ&amp;iact=mrc&amp;uact=8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33" y="-9848"/>
            <a:ext cx="12189212" cy="6867848"/>
          </a:xfrm>
          <a:prstGeom prst="rect">
            <a:avLst/>
          </a:prstGeom>
        </p:spPr>
      </p:pic>
      <p:graphicFrame>
        <p:nvGraphicFramePr>
          <p:cNvPr id="4" name="Object 3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555044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2" name="think-cell Slide" r:id="rId6" imgW="473" imgH="473" progId="TCLayout.ActiveDocument.1">
                  <p:embed/>
                </p:oleObj>
              </mc:Choice>
              <mc:Fallback>
                <p:oleObj name="think-cell Slide" r:id="rId6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0133" y="3175"/>
            <a:ext cx="5852163" cy="6867848"/>
          </a:xfrm>
          <a:prstGeom prst="rect">
            <a:avLst/>
          </a:prstGeom>
          <a:gradFill flip="none" rotWithShape="1">
            <a:gsLst>
              <a:gs pos="0">
                <a:schemeClr val="tx1">
                  <a:alpha val="65000"/>
                </a:schemeClr>
              </a:gs>
              <a:gs pos="24000">
                <a:schemeClr val="tx1">
                  <a:alpha val="59000"/>
                </a:schemeClr>
              </a:gs>
              <a:gs pos="100000">
                <a:schemeClr val="tx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13" name="Picture 12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399" y="306123"/>
            <a:ext cx="2316367" cy="646913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11883" y="2087217"/>
            <a:ext cx="4704551" cy="1587701"/>
          </a:xfrm>
        </p:spPr>
        <p:txBody>
          <a:bodyPr>
            <a:noAutofit/>
          </a:bodyPr>
          <a:lstStyle/>
          <a:p>
            <a:r>
              <a:rPr lang="en-CA" sz="3200" b="0" dirty="0">
                <a:solidFill>
                  <a:schemeClr val="bg1"/>
                </a:solidFill>
                <a:latin typeface="Arial Rounded MT Bold" panose="020F0704030504030204" pitchFamily="34" charset="0"/>
              </a:rPr>
              <a:t>Meeting Room Naming Activity Guide – COMING SOO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45307" y="3657327"/>
            <a:ext cx="3150393" cy="678352"/>
          </a:xfrm>
        </p:spPr>
        <p:txBody>
          <a:bodyPr>
            <a:normAutofit/>
          </a:bodyPr>
          <a:lstStyle/>
          <a:p>
            <a:r>
              <a:rPr lang="en-US" dirty="0">
                <a:solidFill>
                  <a:schemeClr val="accent2"/>
                </a:solidFill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Guidelines for Change Manager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545307" y="4188370"/>
            <a:ext cx="3494087" cy="526957"/>
          </a:xfrm>
        </p:spPr>
        <p:txBody>
          <a:bodyPr/>
          <a:lstStyle/>
          <a:p>
            <a:r>
              <a:rPr lang="fr-CA" sz="1400" dirty="0">
                <a:solidFill>
                  <a:schemeClr val="bg1"/>
                </a:solidFill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Date : </a:t>
            </a:r>
            <a:r>
              <a:rPr lang="fr-CA" sz="1400" dirty="0" err="1">
                <a:solidFill>
                  <a:schemeClr val="bg1"/>
                </a:solidFill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February</a:t>
            </a:r>
            <a:r>
              <a:rPr lang="fr-CA" sz="1400" dirty="0">
                <a:solidFill>
                  <a:schemeClr val="bg1"/>
                </a:solidFill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 2023</a:t>
            </a:r>
            <a:endParaRPr lang="en-CA" sz="1400" dirty="0">
              <a:solidFill>
                <a:schemeClr val="bg1"/>
              </a:solidFill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9" name="Rectangle 8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0133" y="6142244"/>
            <a:ext cx="12192002" cy="7375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14" name="Picture 13">
            <a:hlinkClick r:id="rId9" invalidUrl="https://www.google.ca/imgres?imgurl=https://s3.ca-central-1.amazonaws.com/vectorinstitute.ai/images/logos/Canada_Wordmark_EN.png&amp;imgrefurl=http://vectorinstitute.ai/&amp;docid=yhgK_zErh6d3aM&amp;tbnid=IIIM82B5TUYATM:&amp;vet=10ahUKEwjuq8nnosTZAhVQQq0KHQN_B-QQMwhPKAkwCQ..i&amp;w=1165&amp;h=303&amp;bih=479&amp;biw=1188&amp;q=canada wordmark&amp;ved=0ahUKEwjuq8nnosTZAhVQQq0KHQN_B-QQMwhPKAkwCQ&amp;iact=mrc&amp;uact=8"/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/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2888" y="6396331"/>
            <a:ext cx="885392" cy="229331"/>
          </a:xfrm>
          <a:prstGeom prst="rect">
            <a:avLst/>
          </a:prstGeom>
          <a:noFill/>
          <a:ln>
            <a:noFill/>
          </a:ln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89CA9733-78EF-5F49-81C1-064DE89D526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5681" y="6374997"/>
            <a:ext cx="2036645" cy="2506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960620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ENGAGE" val="{&quot;SavedSwatch&quot;:&quot;-11579311|-10846711|-14797230|-8244963|-11249614|PSPC&quot;,&quot;Id&quot;:&quot;5d3782854232362d9cdb8410&quot;,&quot;SmartGridHorizontal&quot;:0,&quot;LinkedExcelSources&quot;:{},&quot;LinkedProjectSources&quot;:{},&quot;FlowConfig&quot;:{&quot;Canvas&quot;:{&quot;Slide&quot;:-1,&quot;Width&quot;:0,&quot;Height&quot;:0},&quot;Timeline&quot;:{&quot;Actions&quot;:[]}},&quot;LinkedSlideMergeSources&quot;:{},&quot;LinkedSharePointSlideMergeSources&quot;:{}}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 Theme">
  <a:themeElements>
    <a:clrScheme name="GCworkplace-Color Palette">
      <a:dk1>
        <a:srgbClr val="000000"/>
      </a:dk1>
      <a:lt1>
        <a:srgbClr val="FFFFFF"/>
      </a:lt1>
      <a:dk2>
        <a:srgbClr val="77797C"/>
      </a:dk2>
      <a:lt2>
        <a:srgbClr val="E7E6E6"/>
      </a:lt2>
      <a:accent1>
        <a:srgbClr val="A8CE75"/>
      </a:accent1>
      <a:accent2>
        <a:srgbClr val="4CB6A0"/>
      </a:accent2>
      <a:accent3>
        <a:srgbClr val="18853F"/>
      </a:accent3>
      <a:accent4>
        <a:srgbClr val="F2A920"/>
      </a:accent4>
      <a:accent5>
        <a:srgbClr val="17455C"/>
      </a:accent5>
      <a:accent6>
        <a:srgbClr val="BBBCBF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5385</TotalTime>
  <Words>17</Words>
  <Application>Microsoft Office PowerPoint</Application>
  <PresentationFormat>Widescreen</PresentationFormat>
  <Paragraphs>4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Arial Rounded MT Bold</vt:lpstr>
      <vt:lpstr>Calibri</vt:lpstr>
      <vt:lpstr>Calibri Light</vt:lpstr>
      <vt:lpstr>Georgia</vt:lpstr>
      <vt:lpstr>1_Office Theme</vt:lpstr>
      <vt:lpstr>think-cell Slide</vt:lpstr>
      <vt:lpstr>Meeting Room Naming Activity Guide – COMING SO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Robert Tu</dc:creator>
  <cp:lastModifiedBy>Genereux, Sophie (SPAC/PSPC) (elle-la / she-her)</cp:lastModifiedBy>
  <cp:revision>580</cp:revision>
  <dcterms:created xsi:type="dcterms:W3CDTF">2018-01-23T15:59:12Z</dcterms:created>
  <dcterms:modified xsi:type="dcterms:W3CDTF">2023-02-01T20:19:20Z</dcterms:modified>
</cp:coreProperties>
</file>